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6"/>
  </p:notesMasterIdLst>
  <p:sldIdLst>
    <p:sldId id="257" r:id="rId3"/>
    <p:sldId id="265" r:id="rId4"/>
    <p:sldId id="266" r:id="rId5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113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AB0C7-2495-4297-8228-C911C73C8308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2E96CB-0C2E-4533-9E4A-DF88D58A23E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0152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9" name="Rettangolo 28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4878221" y="836613"/>
            <a:ext cx="40005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78221" y="3582922"/>
            <a:ext cx="40005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77991" y="4321257"/>
            <a:ext cx="40005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230" y="0"/>
            <a:ext cx="457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/>
              <a:t>Fare clic sull'icona per inserire un'immagine</a:t>
            </a:r>
          </a:p>
        </p:txBody>
      </p:sp>
      <p:pic>
        <p:nvPicPr>
          <p:cNvPr id="17" name="Immagine 16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9" name="Rettangolo 18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18" name="Connettore diritto 17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4" name="Rettangolo 23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6423996" y="6497638"/>
            <a:ext cx="2162605" cy="360362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3" name="Rettangolo 32"/>
          <p:cNvSpPr/>
          <p:nvPr userDrawn="1"/>
        </p:nvSpPr>
        <p:spPr>
          <a:xfrm>
            <a:off x="4819342" y="4105202"/>
            <a:ext cx="4122295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34" name="Connettore diritto 33"/>
          <p:cNvCxnSpPr/>
          <p:nvPr userDrawn="1"/>
        </p:nvCxnSpPr>
        <p:spPr>
          <a:xfrm flipV="1">
            <a:off x="4586097" y="3351200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/>
          <p:cNvCxnSpPr/>
          <p:nvPr userDrawn="1"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tangolo 36"/>
          <p:cNvSpPr/>
          <p:nvPr userDrawn="1"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 userDrawn="1"/>
        </p:nvSpPr>
        <p:spPr>
          <a:xfrm>
            <a:off x="8659606" y="6497638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9" name="Immagine 38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7638"/>
            <a:ext cx="1781708" cy="360362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5405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4104368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" name="Rettangolo 4"/>
          <p:cNvSpPr/>
          <p:nvPr userDrawn="1"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08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1762125" y="5588009"/>
            <a:ext cx="5619750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6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5" name="Immagine 14" descr="pi_rgb_nobkgd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627" y="2780357"/>
            <a:ext cx="4076753" cy="812902"/>
          </a:xfrm>
          <a:prstGeom prst="rect">
            <a:avLst/>
          </a:prstGeom>
        </p:spPr>
      </p:pic>
      <p:pic>
        <p:nvPicPr>
          <p:cNvPr id="16" name="Immagine 15" descr="social_pos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134" y="3783686"/>
            <a:ext cx="2109730" cy="23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49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9" name="Rettangolo 28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4878221" y="836613"/>
            <a:ext cx="40005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78221" y="3582922"/>
            <a:ext cx="40005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77991" y="4321257"/>
            <a:ext cx="40005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230" y="0"/>
            <a:ext cx="457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/>
              <a:t>Fare clic sull'icona per inserire un'immagine</a:t>
            </a:r>
          </a:p>
        </p:txBody>
      </p:sp>
      <p:pic>
        <p:nvPicPr>
          <p:cNvPr id="17" name="Immagine 16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9" name="Rettangolo 18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18" name="Connettore diritto 17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4" name="Rettangolo 23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6423996" y="6497638"/>
            <a:ext cx="2162605" cy="360362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3" name="Rettangolo 32"/>
          <p:cNvSpPr/>
          <p:nvPr userDrawn="1"/>
        </p:nvSpPr>
        <p:spPr>
          <a:xfrm>
            <a:off x="4819342" y="4105202"/>
            <a:ext cx="4122295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34" name="Connettore diritto 33"/>
          <p:cNvCxnSpPr/>
          <p:nvPr userDrawn="1"/>
        </p:nvCxnSpPr>
        <p:spPr>
          <a:xfrm flipV="1">
            <a:off x="4586097" y="3351200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/>
          <p:cNvCxnSpPr/>
          <p:nvPr userDrawn="1"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tangolo 36"/>
          <p:cNvSpPr/>
          <p:nvPr userDrawn="1"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 userDrawn="1"/>
        </p:nvSpPr>
        <p:spPr>
          <a:xfrm>
            <a:off x="8659606" y="6497638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9" name="Immagine 38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7638"/>
            <a:ext cx="1781708" cy="360362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0921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5" y="810926"/>
            <a:ext cx="7169663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66735" y="3557231"/>
            <a:ext cx="7169663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366506" y="4295570"/>
            <a:ext cx="7169663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tangolo 33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5" name="Immagine 34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7" name="Rettangolo 3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14" name="Connettore diritto 13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16" name="Connettore diritto 15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2397570" y="6498218"/>
            <a:ext cx="6189028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7" name="Rettangolo 2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29" name="Connettore diritto 28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2397570" y="6497638"/>
            <a:ext cx="6189218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1" name="Rettangolo 30"/>
          <p:cNvSpPr/>
          <p:nvPr userDrawn="1"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32" name="Connettore diritto 31"/>
          <p:cNvCxnSpPr/>
          <p:nvPr userDrawn="1"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diritto 35"/>
          <p:cNvCxnSpPr/>
          <p:nvPr userDrawn="1"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/>
          <p:cNvCxnSpPr/>
          <p:nvPr userDrawn="1"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tangolo 39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1" name="Rettangolo 40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 userDrawn="1"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Immagine 43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" name="Segnaposto numero diapositiva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04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</p:spTree>
    <p:extLst>
      <p:ext uri="{BB962C8B-B14F-4D97-AF65-F5344CB8AC3E}">
        <p14:creationId xmlns:p14="http://schemas.microsoft.com/office/powerpoint/2010/main" val="283665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117458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87582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278608" y="1016004"/>
            <a:ext cx="8586788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405348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278606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643438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960610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4643441" y="1016004"/>
            <a:ext cx="4195763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78606" y="2066925"/>
            <a:ext cx="4221956" cy="3038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4581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278606" y="1016004"/>
            <a:ext cx="4221956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4643438" y="2076449"/>
            <a:ext cx="4221956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63453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5" y="810926"/>
            <a:ext cx="7169663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66735" y="3557231"/>
            <a:ext cx="7169663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366506" y="4295570"/>
            <a:ext cx="7169663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tangolo 33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5" name="Immagine 34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7" name="Rettangolo 3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14" name="Connettore diritto 13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16" name="Connettore diritto 15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2397570" y="6498218"/>
            <a:ext cx="6189028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7" name="Rettangolo 2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29" name="Connettore diritto 28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2397570" y="6497638"/>
            <a:ext cx="6189218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1" name="Rettangolo 30"/>
          <p:cNvSpPr/>
          <p:nvPr userDrawn="1"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32" name="Connettore diritto 31"/>
          <p:cNvCxnSpPr/>
          <p:nvPr userDrawn="1"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diritto 35"/>
          <p:cNvCxnSpPr/>
          <p:nvPr userDrawn="1"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/>
          <p:cNvCxnSpPr/>
          <p:nvPr userDrawn="1"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tangolo 39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1" name="Rettangolo 40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 userDrawn="1"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Immagine 43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" name="Segnaposto numero diapositiva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19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 grafico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350794" y="1609725"/>
            <a:ext cx="2491754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63993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a tabella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6350794" y="1609725"/>
            <a:ext cx="25146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5693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165313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" name="Rettangolo 4"/>
          <p:cNvSpPr/>
          <p:nvPr userDrawn="1"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90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1762125" y="5588009"/>
            <a:ext cx="5619750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6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5" name="Immagine 14" descr="pi_rgb_nobkgd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627" y="2780357"/>
            <a:ext cx="4076753" cy="812902"/>
          </a:xfrm>
          <a:prstGeom prst="rect">
            <a:avLst/>
          </a:prstGeom>
        </p:spPr>
      </p:pic>
      <p:pic>
        <p:nvPicPr>
          <p:cNvPr id="16" name="Immagine 15" descr="social_pos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134" y="3783686"/>
            <a:ext cx="2109730" cy="23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40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5281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</p:spTree>
    <p:extLst>
      <p:ext uri="{BB962C8B-B14F-4D97-AF65-F5344CB8AC3E}">
        <p14:creationId xmlns:p14="http://schemas.microsoft.com/office/powerpoint/2010/main" val="397561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17945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87582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278608" y="1016004"/>
            <a:ext cx="8586788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163651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278606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643438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9450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4643441" y="1016004"/>
            <a:ext cx="4195763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78606" y="2066925"/>
            <a:ext cx="4221956" cy="3038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0145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278606" y="1016004"/>
            <a:ext cx="4221956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4643438" y="2076449"/>
            <a:ext cx="4221956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23366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 grafico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350794" y="1609725"/>
            <a:ext cx="2491754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4626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a tabella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6350794" y="1609725"/>
            <a:ext cx="25146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5022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3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26430692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ttangolo 60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78606" y="1016000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5" name="Rettangolo 14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6" name="Immagine 15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8" name="Rettangolo 17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58418" y="6495840"/>
            <a:ext cx="484394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cxnSp>
        <p:nvCxnSpPr>
          <p:cNvPr id="22" name="Connettore diritto 2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3" name="Triangolo isoscele 22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4" name="Triangolo isoscele 23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5" name="Triangolo isoscele 24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8" name="Triangolo isoscele 27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Triangolo isoscele 29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32" name="Rettangolo 31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37"/>
          <p:cNvSpPr/>
          <p:nvPr/>
        </p:nvSpPr>
        <p:spPr>
          <a:xfrm>
            <a:off x="2397568" y="6498218"/>
            <a:ext cx="6189030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9" name="Rettangolo 38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1" name="Rettangolo 40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8659609" y="6495832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5" name="Triangolo isoscele 44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6" name="Triangolo isoscele 45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7" name="Triangolo isoscele 46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0" name="Triangolo isoscele 49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1" name="Triangolo isoscele 50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58" name="Connettore diritto 57"/>
          <p:cNvCxnSpPr/>
          <p:nvPr userDrawn="1"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0" name="Rettangolo 59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62" name="Connettore diritto 61"/>
          <p:cNvCxnSpPr/>
          <p:nvPr userDrawn="1"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riangolo isoscele 62"/>
          <p:cNvSpPr/>
          <p:nvPr userDrawn="1"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4" name="Triangolo isoscele 63"/>
          <p:cNvSpPr/>
          <p:nvPr userDrawn="1"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5" name="Triangolo isoscele 64"/>
          <p:cNvSpPr/>
          <p:nvPr userDrawn="1"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6" name="Triangolo isoscele 65"/>
          <p:cNvSpPr/>
          <p:nvPr userDrawn="1"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7" name="Triangolo isoscele 66"/>
          <p:cNvSpPr/>
          <p:nvPr userDrawn="1"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8" name="Triangolo isoscele 67"/>
          <p:cNvSpPr/>
          <p:nvPr userDrawn="1"/>
        </p:nvSpPr>
        <p:spPr>
          <a:xfrm rot="5400000">
            <a:off x="-223571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9" name="Triangolo isoscele 68"/>
          <p:cNvSpPr/>
          <p:nvPr userDrawn="1"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70" name="Triangolo isoscele 69"/>
          <p:cNvSpPr/>
          <p:nvPr userDrawn="1"/>
        </p:nvSpPr>
        <p:spPr>
          <a:xfrm rot="16200000">
            <a:off x="9231798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72" name="Immagine 71" descr="PI_logo_o_RGB_p.jp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73" name="Segnaposto numero diapositiva 2"/>
          <p:cNvSpPr txBox="1">
            <a:spLocks/>
          </p:cNvSpPr>
          <p:nvPr userDrawn="1"/>
        </p:nvSpPr>
        <p:spPr>
          <a:xfrm>
            <a:off x="8659606" y="6500822"/>
            <a:ext cx="484394" cy="35718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7FA73C-A7EE-4241-A631-441DFD16C2EB}" type="slidenum">
              <a:rPr lang="it-IT" smtClean="0">
                <a:solidFill>
                  <a:srgbClr val="706F6F"/>
                </a:solidFill>
              </a:rPr>
              <a:pPr/>
              <a:t>‹N›</a:t>
            </a:fld>
            <a:endParaRPr lang="it-IT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996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5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3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2" pos="3840">
          <p15:clr>
            <a:srgbClr val="F26B43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  <p15:guide id="7" orient="horz" pos="2244" userDrawn="1">
          <p15:clr>
            <a:srgbClr val="9FCC3B"/>
          </p15:clr>
        </p15:guide>
        <p15:guide id="8" pos="2880" userDrawn="1">
          <p15:clr>
            <a:srgbClr val="F26B43"/>
          </p15:clr>
        </p15:guide>
        <p15:guide id="9" orient="horz" pos="3851" userDrawn="1">
          <p15:clr>
            <a:srgbClr val="9FCC3B"/>
          </p15:clr>
        </p15:guide>
        <p15:guide id="10" orient="horz" pos="640" userDrawn="1">
          <p15:clr>
            <a:srgbClr val="FBAE40"/>
          </p15:clr>
        </p15:guide>
        <p15:guide id="11" pos="176" userDrawn="1">
          <p15:clr>
            <a:srgbClr val="9FCC3B"/>
          </p15:clr>
        </p15:guide>
        <p15:guide id="12" pos="55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47785725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Diapositiva think-cell" r:id="rId17" imgW="270" imgH="270" progId="TCLayout.ActiveDocument.1">
                  <p:embed/>
                </p:oleObj>
              </mc:Choice>
              <mc:Fallback>
                <p:oleObj name="Diapositiva think-cell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ttangolo 60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78606" y="1016000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5" name="Rettangolo 14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6" name="Immagine 15" descr="PI_logo_o_RGB_p.jp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8" name="Rettangolo 17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58418" y="6495840"/>
            <a:ext cx="484394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cxnSp>
        <p:nvCxnSpPr>
          <p:cNvPr id="22" name="Connettore diritto 2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3" name="Triangolo isoscele 22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4" name="Triangolo isoscele 23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5" name="Triangolo isoscele 24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8" name="Triangolo isoscele 27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Triangolo isoscele 29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32" name="Rettangolo 31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37"/>
          <p:cNvSpPr/>
          <p:nvPr/>
        </p:nvSpPr>
        <p:spPr>
          <a:xfrm>
            <a:off x="2397568" y="6498218"/>
            <a:ext cx="6189030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9" name="Rettangolo 38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1" name="Rettangolo 40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8659609" y="6495832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5" name="Triangolo isoscele 44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6" name="Triangolo isoscele 45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7" name="Triangolo isoscele 46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0" name="Triangolo isoscele 49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1" name="Triangolo isoscele 50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58" name="Connettore diritto 57"/>
          <p:cNvCxnSpPr/>
          <p:nvPr userDrawn="1"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0" name="Rettangolo 59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62" name="Connettore diritto 61"/>
          <p:cNvCxnSpPr/>
          <p:nvPr userDrawn="1"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riangolo isoscele 62"/>
          <p:cNvSpPr/>
          <p:nvPr userDrawn="1"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4" name="Triangolo isoscele 63"/>
          <p:cNvSpPr/>
          <p:nvPr userDrawn="1"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5" name="Triangolo isoscele 64"/>
          <p:cNvSpPr/>
          <p:nvPr userDrawn="1"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6" name="Triangolo isoscele 65"/>
          <p:cNvSpPr/>
          <p:nvPr userDrawn="1"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7" name="Triangolo isoscele 66"/>
          <p:cNvSpPr/>
          <p:nvPr userDrawn="1"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8" name="Triangolo isoscele 67"/>
          <p:cNvSpPr/>
          <p:nvPr userDrawn="1"/>
        </p:nvSpPr>
        <p:spPr>
          <a:xfrm rot="5400000">
            <a:off x="-223571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9" name="Triangolo isoscele 68"/>
          <p:cNvSpPr/>
          <p:nvPr userDrawn="1"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70" name="Triangolo isoscele 69"/>
          <p:cNvSpPr/>
          <p:nvPr userDrawn="1"/>
        </p:nvSpPr>
        <p:spPr>
          <a:xfrm rot="16200000">
            <a:off x="9231798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72" name="Immagine 71" descr="PI_logo_o_RGB_p.jp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73" name="Segnaposto numero diapositiva 2"/>
          <p:cNvSpPr txBox="1">
            <a:spLocks/>
          </p:cNvSpPr>
          <p:nvPr userDrawn="1"/>
        </p:nvSpPr>
        <p:spPr>
          <a:xfrm>
            <a:off x="8659606" y="6500822"/>
            <a:ext cx="484394" cy="35718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7FA73C-A7EE-4241-A631-441DFD16C2EB}" type="slidenum">
              <a:rPr lang="it-IT" smtClean="0">
                <a:solidFill>
                  <a:srgbClr val="706F6F"/>
                </a:solidFill>
              </a:rPr>
              <a:pPr/>
              <a:t>‹N›</a:t>
            </a:fld>
            <a:endParaRPr lang="it-IT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430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5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3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2" pos="3840">
          <p15:clr>
            <a:srgbClr val="F26B43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  <p15:guide id="7" orient="horz" pos="2244" userDrawn="1">
          <p15:clr>
            <a:srgbClr val="9FCC3B"/>
          </p15:clr>
        </p15:guide>
        <p15:guide id="8" pos="2880" userDrawn="1">
          <p15:clr>
            <a:srgbClr val="F26B43"/>
          </p15:clr>
        </p15:guide>
        <p15:guide id="9" orient="horz" pos="3851" userDrawn="1">
          <p15:clr>
            <a:srgbClr val="9FCC3B"/>
          </p15:clr>
        </p15:guide>
        <p15:guide id="10" orient="horz" pos="640" userDrawn="1">
          <p15:clr>
            <a:srgbClr val="FBAE40"/>
          </p15:clr>
        </p15:guide>
        <p15:guide id="11" pos="176" userDrawn="1">
          <p15:clr>
            <a:srgbClr val="9FCC3B"/>
          </p15:clr>
        </p15:guide>
        <p15:guide id="12" pos="55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4" y="810926"/>
            <a:ext cx="8669762" cy="2387600"/>
          </a:xfrm>
        </p:spPr>
        <p:txBody>
          <a:bodyPr/>
          <a:lstStyle/>
          <a:p>
            <a:r>
              <a:rPr lang="it-IT" kern="0" dirty="0" smtClean="0"/>
              <a:t/>
            </a:r>
            <a:br>
              <a:rPr lang="it-IT" kern="0" dirty="0" smtClean="0"/>
            </a:br>
            <a:r>
              <a:rPr lang="it-IT" kern="0" dirty="0" smtClean="0"/>
              <a:t>Accordo 4 agosto 2017 – Allegato 2</a:t>
            </a:r>
            <a:br>
              <a:rPr lang="it-IT" kern="0" dirty="0" smtClean="0"/>
            </a:br>
            <a:r>
              <a:rPr lang="it-IT" kern="0" dirty="0" smtClean="0"/>
              <a:t>RECAPITO E LAVORAZIONI INTERNE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1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numero diapositiva 4"/>
          <p:cNvSpPr txBox="1">
            <a:spLocks/>
          </p:cNvSpPr>
          <p:nvPr/>
        </p:nvSpPr>
        <p:spPr>
          <a:xfrm>
            <a:off x="8664946" y="6500824"/>
            <a:ext cx="484394" cy="357187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>
                <a:solidFill>
                  <a:prstClr val="white"/>
                </a:solidFill>
              </a:rPr>
              <a:pPr/>
              <a:t>1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97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Basket orari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it-IT" dirty="0" smtClean="0"/>
              <a:t>RECAPITO</a:t>
            </a:r>
            <a:endParaRPr lang="it-IT" dirty="0"/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3977129"/>
              </p:ext>
            </p:extLst>
          </p:nvPr>
        </p:nvGraphicFramePr>
        <p:xfrm>
          <a:off x="538937" y="4256701"/>
          <a:ext cx="2473593" cy="1103869"/>
        </p:xfrm>
        <a:graphic>
          <a:graphicData uri="http://schemas.openxmlformats.org/drawingml/2006/table">
            <a:tbl>
              <a:tblPr firstRow="1" firstCol="1" bandRow="1"/>
              <a:tblGrid>
                <a:gridCol w="186102"/>
                <a:gridCol w="2287491"/>
              </a:tblGrid>
              <a:tr h="44767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RARIO INIZIO TURNI (*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unedì - Venerdì</a:t>
                      </a: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94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3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2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4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3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5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ttangolo arrotondato 5"/>
          <p:cNvSpPr/>
          <p:nvPr/>
        </p:nvSpPr>
        <p:spPr bwMode="auto">
          <a:xfrm>
            <a:off x="426755" y="995621"/>
            <a:ext cx="8098924" cy="324673"/>
          </a:xfrm>
          <a:prstGeom prst="roundRect">
            <a:avLst/>
          </a:prstGeom>
          <a:solidFill>
            <a:srgbClr val="0047A9"/>
          </a:solidFill>
          <a:ln w="9525" algn="ctr">
            <a:solidFill>
              <a:srgbClr val="0047A9"/>
            </a:solidFill>
            <a:round/>
            <a:headEnd/>
            <a:tailEnd/>
          </a:ln>
          <a:extLst/>
        </p:spPr>
        <p:txBody>
          <a:bodyPr tIns="91440" bIns="91440" anchor="ctr"/>
          <a:lstStyle/>
          <a:p>
            <a:pPr algn="ctr" fontAlgn="ctr">
              <a:defRPr/>
            </a:pPr>
            <a:r>
              <a:rPr lang="it-IT" cap="all" dirty="0">
                <a:solidFill>
                  <a:prstClr val="white"/>
                </a:solidFill>
              </a:rPr>
              <a:t>Basket turni (6:00 / 6:36 / 7:12 H) </a:t>
            </a:r>
          </a:p>
        </p:txBody>
      </p:sp>
      <p:sp>
        <p:nvSpPr>
          <p:cNvPr id="8" name="Rettangolo 7"/>
          <p:cNvSpPr/>
          <p:nvPr/>
        </p:nvSpPr>
        <p:spPr>
          <a:xfrm>
            <a:off x="519889" y="5756043"/>
            <a:ext cx="529988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>
                <a:solidFill>
                  <a:srgbClr val="706F6F"/>
                </a:solidFill>
              </a:rPr>
              <a:t>(*) Sarà possibile /anticipare posticipare l’inizio/fine di ogni turno di 30’</a:t>
            </a:r>
          </a:p>
        </p:txBody>
      </p:sp>
      <p:graphicFrame>
        <p:nvGraphicFramePr>
          <p:cNvPr id="9" name="Tabel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3664525"/>
              </p:ext>
            </p:extLst>
          </p:nvPr>
        </p:nvGraphicFramePr>
        <p:xfrm>
          <a:off x="3337316" y="4256701"/>
          <a:ext cx="2473593" cy="677149"/>
        </p:xfrm>
        <a:graphic>
          <a:graphicData uri="http://schemas.openxmlformats.org/drawingml/2006/table">
            <a:tbl>
              <a:tblPr firstRow="1" firstCol="1" bandRow="1"/>
              <a:tblGrid>
                <a:gridCol w="186102"/>
                <a:gridCol w="2287491"/>
              </a:tblGrid>
              <a:tr h="44767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RARIO INIZIO TURNI (*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abato</a:t>
                      </a: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94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8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" name="Rettangolo 9"/>
          <p:cNvSpPr/>
          <p:nvPr/>
        </p:nvSpPr>
        <p:spPr>
          <a:xfrm>
            <a:off x="426755" y="1341285"/>
            <a:ext cx="8717246" cy="2903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050" dirty="0">
                <a:solidFill>
                  <a:srgbClr val="706F6F"/>
                </a:solidFill>
              </a:rPr>
              <a:t>In aggiunta ai turni già previsti dagli accordi vigenti:</a:t>
            </a:r>
          </a:p>
          <a:p>
            <a:pPr marL="742950" lvl="1" indent="-285750"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it-IT" sz="1050" b="1" dirty="0">
                <a:solidFill>
                  <a:srgbClr val="706F6F"/>
                </a:solidFill>
              </a:rPr>
              <a:t>Articolazione di base operante su un CD:</a:t>
            </a:r>
          </a:p>
          <a:p>
            <a:pPr lvl="1">
              <a:lnSpc>
                <a:spcPct val="120000"/>
              </a:lnSpc>
              <a:defRPr/>
            </a:pPr>
            <a:r>
              <a:rPr lang="it-IT" sz="1050" dirty="0">
                <a:solidFill>
                  <a:srgbClr val="706F6F"/>
                </a:solidFill>
              </a:rPr>
              <a:t>Se il tempo necessario a connettere il CD al CMP di riferimento è:</a:t>
            </a:r>
          </a:p>
          <a:p>
            <a:pPr marL="742950" lvl="1" indent="-28575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it-IT" sz="1050" dirty="0">
                <a:solidFill>
                  <a:srgbClr val="706F6F"/>
                </a:solidFill>
              </a:rPr>
              <a:t>Minore o uguale a 45’</a:t>
            </a:r>
          </a:p>
          <a:p>
            <a:pPr marL="1076325" lvl="2" indent="-17145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it-IT" sz="1050" dirty="0">
                <a:solidFill>
                  <a:srgbClr val="706F6F"/>
                </a:solidFill>
              </a:rPr>
              <a:t>l’orario di entrata in servizio dell’articolazione di base è fissato di norma alle ore 07:30 +/- 30' </a:t>
            </a:r>
          </a:p>
          <a:p>
            <a:pPr marL="803275" lvl="1" indent="-346075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it-IT" sz="1050" dirty="0">
                <a:solidFill>
                  <a:srgbClr val="706F6F"/>
                </a:solidFill>
              </a:rPr>
              <a:t>Maggiore di 45’</a:t>
            </a:r>
          </a:p>
          <a:p>
            <a:pPr marL="1076325" lvl="2" indent="-180975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it-IT" sz="1050" dirty="0">
                <a:solidFill>
                  <a:srgbClr val="706F6F"/>
                </a:solidFill>
              </a:rPr>
              <a:t>l’orario di entrata in servizio dell’articolazione di base è fissato di norma alle ore 08:30 +/- 60' </a:t>
            </a:r>
          </a:p>
          <a:p>
            <a:pPr marL="1076325" lvl="2" indent="-180975">
              <a:lnSpc>
                <a:spcPct val="120000"/>
              </a:lnSpc>
              <a:buFont typeface="Arial" pitchFamily="34" charset="0"/>
              <a:buChar char="•"/>
              <a:defRPr/>
            </a:pPr>
            <a:endParaRPr lang="it-IT" sz="1050" dirty="0">
              <a:solidFill>
                <a:srgbClr val="706F6F"/>
              </a:solidFill>
            </a:endParaRPr>
          </a:p>
          <a:p>
            <a:pPr marL="742950" lvl="1" indent="-285750"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it-IT" sz="1050" b="1" dirty="0">
                <a:solidFill>
                  <a:srgbClr val="706F6F"/>
                </a:solidFill>
              </a:rPr>
              <a:t>Articolazione di base operante su un PDD: </a:t>
            </a:r>
          </a:p>
          <a:p>
            <a:pPr lvl="1">
              <a:lnSpc>
                <a:spcPct val="120000"/>
              </a:lnSpc>
              <a:defRPr/>
            </a:pPr>
            <a:r>
              <a:rPr lang="it-IT" sz="1050" dirty="0">
                <a:solidFill>
                  <a:srgbClr val="706F6F"/>
                </a:solidFill>
              </a:rPr>
              <a:t>L’orario di entrata in servizio è posticipato di 30' rispetto a quello del CD di appartenenza</a:t>
            </a:r>
          </a:p>
          <a:p>
            <a:pPr lvl="1">
              <a:lnSpc>
                <a:spcPct val="120000"/>
              </a:lnSpc>
              <a:defRPr/>
            </a:pPr>
            <a:endParaRPr lang="it-IT" sz="1050" dirty="0">
              <a:solidFill>
                <a:srgbClr val="706F6F"/>
              </a:solidFill>
            </a:endParaRPr>
          </a:p>
          <a:p>
            <a:pPr marL="742950" lvl="1" indent="-285750"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it-IT" sz="1050" b="1" dirty="0">
                <a:solidFill>
                  <a:srgbClr val="706F6F"/>
                </a:solidFill>
              </a:rPr>
              <a:t>Linea Plus: </a:t>
            </a:r>
          </a:p>
          <a:p>
            <a:pPr lvl="1">
              <a:lnSpc>
                <a:spcPct val="120000"/>
              </a:lnSpc>
              <a:defRPr/>
            </a:pPr>
            <a:r>
              <a:rPr lang="it-IT" sz="1050" dirty="0">
                <a:solidFill>
                  <a:srgbClr val="706F6F"/>
                </a:solidFill>
              </a:rPr>
              <a:t>L’orario di entrata in servizio è posticipato di 30' rispetto all’ articolazione di base del CD di appartenenz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050" dirty="0">
                <a:solidFill>
                  <a:srgbClr val="706F6F"/>
                </a:solidFill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050" dirty="0">
                <a:solidFill>
                  <a:srgbClr val="706F6F"/>
                </a:solidFill>
              </a:rPr>
              <a:t>si prevedono i seguenti turni:</a:t>
            </a:r>
          </a:p>
        </p:txBody>
      </p:sp>
    </p:spTree>
    <p:extLst>
      <p:ext uri="{BB962C8B-B14F-4D97-AF65-F5344CB8AC3E}">
        <p14:creationId xmlns:p14="http://schemas.microsoft.com/office/powerpoint/2010/main" val="73294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Basket orari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it-IT" dirty="0" smtClean="0"/>
              <a:t>Lavorazioni interne</a:t>
            </a:r>
            <a:endParaRPr lang="it-IT" dirty="0"/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0719892"/>
              </p:ext>
            </p:extLst>
          </p:nvPr>
        </p:nvGraphicFramePr>
        <p:xfrm>
          <a:off x="577035" y="2246646"/>
          <a:ext cx="2473593" cy="1743949"/>
        </p:xfrm>
        <a:graphic>
          <a:graphicData uri="http://schemas.openxmlformats.org/drawingml/2006/table">
            <a:tbl>
              <a:tblPr firstRow="1" firstCol="1" bandRow="1"/>
              <a:tblGrid>
                <a:gridCol w="186102"/>
                <a:gridCol w="2287491"/>
              </a:tblGrid>
              <a:tr h="44767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RARIO INIZIO TURNI (*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unedì - Sabato</a:t>
                      </a: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94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5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2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7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3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9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4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3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5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4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6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0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ttangolo arrotondato 5"/>
          <p:cNvSpPr/>
          <p:nvPr/>
        </p:nvSpPr>
        <p:spPr bwMode="auto">
          <a:xfrm>
            <a:off x="548462" y="1370270"/>
            <a:ext cx="8098924" cy="324673"/>
          </a:xfrm>
          <a:prstGeom prst="roundRect">
            <a:avLst/>
          </a:prstGeom>
          <a:solidFill>
            <a:srgbClr val="0047A9"/>
          </a:solidFill>
          <a:ln w="9525" algn="ctr">
            <a:solidFill>
              <a:srgbClr val="0047A9"/>
            </a:solidFill>
            <a:round/>
            <a:headEnd/>
            <a:tailEnd/>
          </a:ln>
          <a:extLst/>
        </p:spPr>
        <p:txBody>
          <a:bodyPr tIns="91440" bIns="91440" anchor="ctr"/>
          <a:lstStyle/>
          <a:p>
            <a:pPr algn="ctr" fontAlgn="ctr">
              <a:defRPr/>
            </a:pPr>
            <a:r>
              <a:rPr lang="it-IT" cap="all" dirty="0">
                <a:solidFill>
                  <a:prstClr val="white"/>
                </a:solidFill>
              </a:rPr>
              <a:t>Basket turni (6:00/7:12 </a:t>
            </a:r>
            <a:r>
              <a:rPr lang="it-IT" dirty="0">
                <a:solidFill>
                  <a:prstClr val="white"/>
                </a:solidFill>
              </a:rPr>
              <a:t>h</a:t>
            </a:r>
            <a:r>
              <a:rPr lang="it-IT" cap="all" dirty="0">
                <a:solidFill>
                  <a:prstClr val="white"/>
                </a:solidFill>
              </a:rPr>
              <a:t>) </a:t>
            </a:r>
          </a:p>
        </p:txBody>
      </p:sp>
      <p:sp>
        <p:nvSpPr>
          <p:cNvPr id="7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472897" y="945931"/>
            <a:ext cx="8210357" cy="4511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cap="none" dirty="0" smtClean="0">
                <a:solidFill>
                  <a:schemeClr val="tx1"/>
                </a:solidFill>
              </a:rPr>
              <a:t>I turni necessari alle lavorazioni interne prevedono basket orari già presenti sui CD.</a:t>
            </a:r>
            <a:endParaRPr lang="it-IT" cap="none" dirty="0">
              <a:solidFill>
                <a:schemeClr val="tx1"/>
              </a:solidFill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548462" y="4437153"/>
            <a:ext cx="354997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>
                <a:solidFill>
                  <a:srgbClr val="706F6F"/>
                </a:solidFill>
              </a:rPr>
              <a:t>(*) Sarà possibile /anticipare posticipare l’inizio/fine di ogni turno di 30’</a:t>
            </a:r>
          </a:p>
        </p:txBody>
      </p:sp>
      <p:graphicFrame>
        <p:nvGraphicFramePr>
          <p:cNvPr id="9" name="Tabel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418557"/>
              </p:ext>
            </p:extLst>
          </p:nvPr>
        </p:nvGraphicFramePr>
        <p:xfrm>
          <a:off x="3375414" y="2246646"/>
          <a:ext cx="2473593" cy="1530589"/>
        </p:xfrm>
        <a:graphic>
          <a:graphicData uri="http://schemas.openxmlformats.org/drawingml/2006/table">
            <a:tbl>
              <a:tblPr firstRow="1" firstCol="1" bandRow="1"/>
              <a:tblGrid>
                <a:gridCol w="186102"/>
                <a:gridCol w="2287491"/>
              </a:tblGrid>
              <a:tr h="44767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RARIO INIZIO TURNI (*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unedì - Sabato</a:t>
                      </a: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94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5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2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7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3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0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4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3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5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4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620283"/>
              </p:ext>
            </p:extLst>
          </p:nvPr>
        </p:nvGraphicFramePr>
        <p:xfrm>
          <a:off x="6142263" y="2246646"/>
          <a:ext cx="2473593" cy="1530589"/>
        </p:xfrm>
        <a:graphic>
          <a:graphicData uri="http://schemas.openxmlformats.org/drawingml/2006/table">
            <a:tbl>
              <a:tblPr firstRow="1" firstCol="1" bandRow="1"/>
              <a:tblGrid>
                <a:gridCol w="186102"/>
                <a:gridCol w="2287491"/>
              </a:tblGrid>
              <a:tr h="44767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RARIO INIZIO TURNI (*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unedì - Sabato</a:t>
                      </a: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94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6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2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8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3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0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4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2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5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3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Rettangolo 10"/>
          <p:cNvSpPr/>
          <p:nvPr/>
        </p:nvSpPr>
        <p:spPr>
          <a:xfrm>
            <a:off x="548462" y="1940925"/>
            <a:ext cx="243122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1100" b="1" dirty="0">
                <a:solidFill>
                  <a:srgbClr val="706F6F"/>
                </a:solidFill>
              </a:rPr>
              <a:t>AREE METROPOLITANE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3382313" y="1856287"/>
            <a:ext cx="243122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1100" b="1" dirty="0">
                <a:solidFill>
                  <a:srgbClr val="706F6F"/>
                </a:solidFill>
              </a:rPr>
              <a:t>AREE CP + AREE EU NON REGOLATE</a:t>
            </a:r>
          </a:p>
        </p:txBody>
      </p:sp>
      <p:sp>
        <p:nvSpPr>
          <p:cNvPr id="13" name="Rettangolo 12"/>
          <p:cNvSpPr/>
          <p:nvPr/>
        </p:nvSpPr>
        <p:spPr>
          <a:xfrm>
            <a:off x="6180695" y="1940925"/>
            <a:ext cx="243122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1100" b="1" dirty="0">
                <a:solidFill>
                  <a:srgbClr val="706F6F"/>
                </a:solidFill>
              </a:rPr>
              <a:t>AREE REGOLATE</a:t>
            </a:r>
          </a:p>
        </p:txBody>
      </p:sp>
    </p:spTree>
    <p:extLst>
      <p:ext uri="{BB962C8B-B14F-4D97-AF65-F5344CB8AC3E}">
        <p14:creationId xmlns:p14="http://schemas.microsoft.com/office/powerpoint/2010/main" val="233448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Poste">
  <a:themeElements>
    <a:clrScheme name="Post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706F6F"/>
      </a:accent3>
      <a:accent4>
        <a:srgbClr val="C0C0C0"/>
      </a:accent4>
      <a:accent5>
        <a:srgbClr val="00B0F0"/>
      </a:accent5>
      <a:accent6>
        <a:srgbClr val="007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Tema Poste" id="{0A4B8638-53E6-4A94-8E22-F8D99DB4BEB6}" vid="{4DA813B9-AA7B-4999-BBA6-A0FC37714231}"/>
    </a:ext>
  </a:extLst>
</a:theme>
</file>

<file path=ppt/theme/theme2.xml><?xml version="1.0" encoding="utf-8"?>
<a:theme xmlns:a="http://schemas.openxmlformats.org/drawingml/2006/main" name="1_Tema Poste">
  <a:themeElements>
    <a:clrScheme name="Post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706F6F"/>
      </a:accent3>
      <a:accent4>
        <a:srgbClr val="C0C0C0"/>
      </a:accent4>
      <a:accent5>
        <a:srgbClr val="00B0F0"/>
      </a:accent5>
      <a:accent6>
        <a:srgbClr val="007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Tema Poste" id="{0A4B8638-53E6-4A94-8E22-F8D99DB4BEB6}" vid="{4DA813B9-AA7B-4999-BBA6-A0FC37714231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282</Words>
  <Application>Microsoft Office PowerPoint</Application>
  <PresentationFormat>Presentazione su schermo (4:3)</PresentationFormat>
  <Paragraphs>80</Paragraphs>
  <Slides>3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</vt:i4>
      </vt:variant>
    </vt:vector>
  </HeadingPairs>
  <TitlesOfParts>
    <vt:vector size="6" baseType="lpstr">
      <vt:lpstr>Tema Poste</vt:lpstr>
      <vt:lpstr>1_Tema Poste</vt:lpstr>
      <vt:lpstr>Diapositiva think-cell</vt:lpstr>
      <vt:lpstr> Accordo 4 agosto 2017 – Allegato 2 RECAPITO E LAVORAZIONI INTERNE</vt:lpstr>
      <vt:lpstr>Basket orari</vt:lpstr>
      <vt:lpstr>Basket orari</vt:lpstr>
    </vt:vector>
  </TitlesOfParts>
  <Company>Poste Italian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ordo XXX – Allegato 1 SMISTAMENTO</dc:title>
  <dc:creator>Poste Italiane</dc:creator>
  <cp:lastModifiedBy>Admin</cp:lastModifiedBy>
  <cp:revision>8</cp:revision>
  <cp:lastPrinted>2017-07-24T18:55:30Z</cp:lastPrinted>
  <dcterms:created xsi:type="dcterms:W3CDTF">2017-07-24T17:40:23Z</dcterms:created>
  <dcterms:modified xsi:type="dcterms:W3CDTF">2017-08-08T10:28:44Z</dcterms:modified>
</cp:coreProperties>
</file>